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6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7F-4062-9CFA-A31B11FD24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7F-4062-9CFA-A31B11FD24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tickLblSkip val="1"/>
        <c:noMultiLvlLbl val="1"/>
      </c:catAx>
      <c:valAx>
        <c:axId val="619282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D38CE0-6249-AED7-6D9D-AA6FD29776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B2608D-8829-D8E3-1F9A-2F551271C3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7FAD31-A37B-BC66-9730-538FAC34B8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7E8CF6-461E-BD99-FD9C-123ADE39D4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359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9AA83A-EF6F-E8E1-CE59-F88591194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1F92C6-76B4-9512-05CA-D31F8ACA5A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1F92C6-76B4-9512-05CA-D31F8ACA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D754BC6A-4119-AD24-017E-E27686545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Area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D866E34-7943-D481-AE0F-7452FAB40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DB13E7E8-EB18-A305-9805-DBCAA3C497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899C687-4713-351C-4B5A-5A7508CFCE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9">
            <a:extLst>
              <a:ext uri="{FF2B5EF4-FFF2-40B4-BE49-F238E27FC236}">
                <a16:creationId xmlns:a16="http://schemas.microsoft.com/office/drawing/2014/main" id="{5F88820E-2A3D-C384-DA9F-C0C0B330A7C3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78F65E50-E818-CAE1-D70D-CF5842DEDE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8DDD09B-1DF2-AAF4-7FDB-A36CC5A835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481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2</TotalTime>
  <Words>87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Area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01</cp:revision>
  <dcterms:created xsi:type="dcterms:W3CDTF">2025-07-09T10:57:17Z</dcterms:created>
  <dcterms:modified xsi:type="dcterms:W3CDTF">2025-10-22T09:56:48Z</dcterms:modified>
  <cp:category/>
</cp:coreProperties>
</file>